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  <p:sldMasterId id="2147484174" r:id="rId2"/>
  </p:sldMasterIdLst>
  <p:notesMasterIdLst>
    <p:notesMasterId r:id="rId8"/>
  </p:notesMasterIdLst>
  <p:sldIdLst>
    <p:sldId id="2081" r:id="rId3"/>
    <p:sldId id="2163" r:id="rId4"/>
    <p:sldId id="4630" r:id="rId5"/>
    <p:sldId id="4628" r:id="rId6"/>
    <p:sldId id="4632" r:id="rId7"/>
  </p:sldIdLst>
  <p:sldSz cx="12192000" cy="6858000"/>
  <p:notesSz cx="6858000" cy="9144000"/>
  <p:custDataLst>
    <p:tags r:id="rId9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 userDrawn="1">
          <p15:clr>
            <a:srgbClr val="A4A3A4"/>
          </p15:clr>
        </p15:guide>
        <p15:guide id="2" pos="41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echová Anna Mgr." initials="KAM" lastIdx="1" clrIdx="0">
    <p:extLst>
      <p:ext uri="{19B8F6BF-5375-455C-9EA6-DF929625EA0E}">
        <p15:presenceInfo xmlns:p15="http://schemas.microsoft.com/office/powerpoint/2012/main" userId="Klechová Anna Mgr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0000FF"/>
    <a:srgbClr val="D31145"/>
    <a:srgbClr val="FBCBD8"/>
    <a:srgbClr val="305983"/>
    <a:srgbClr val="CFDEED"/>
    <a:srgbClr val="4DE5F5"/>
    <a:srgbClr val="F7E7E9"/>
    <a:srgbClr val="C0000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93721" autoAdjust="0"/>
  </p:normalViewPr>
  <p:slideViewPr>
    <p:cSldViewPr snapToGrid="0">
      <p:cViewPr>
        <p:scale>
          <a:sx n="100" d="100"/>
          <a:sy n="100" d="100"/>
        </p:scale>
        <p:origin x="966" y="342"/>
      </p:cViewPr>
      <p:guideLst>
        <p:guide orient="horz" pos="4224"/>
        <p:guide pos="41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14.01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3845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6745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142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3337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1.tmp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Úvodní sníme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Obrázek 31">
            <a:extLst>
              <a:ext uri="{FF2B5EF4-FFF2-40B4-BE49-F238E27FC236}">
                <a16:creationId xmlns:a16="http://schemas.microsoft.com/office/drawing/2014/main" id="{195036A3-2C0E-4CFE-A711-5BBB07E7B7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7728" y="1584000"/>
            <a:ext cx="5336537" cy="3060000"/>
          </a:xfrm>
          <a:prstGeom prst="rect">
            <a:avLst/>
          </a:prstGeom>
        </p:spPr>
      </p:pic>
      <p:sp>
        <p:nvSpPr>
          <p:cNvPr id="16" name="Obdélník 15"/>
          <p:cNvSpPr/>
          <p:nvPr userDrawn="1"/>
        </p:nvSpPr>
        <p:spPr>
          <a:xfrm>
            <a:off x="-3" y="-38466"/>
            <a:ext cx="12192000" cy="6858000"/>
          </a:xfrm>
          <a:prstGeom prst="rect">
            <a:avLst/>
          </a:prstGeom>
          <a:gradFill flip="none" rotWithShape="1">
            <a:gsLst>
              <a:gs pos="49000">
                <a:schemeClr val="bg1"/>
              </a:gs>
              <a:gs pos="0">
                <a:schemeClr val="accent5">
                  <a:lumMod val="52000"/>
                  <a:lumOff val="48000"/>
                  <a:alpha val="67000"/>
                </a:schemeClr>
              </a:gs>
              <a:gs pos="100000">
                <a:schemeClr val="accent4">
                  <a:alpha val="60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>
              <a:solidFill>
                <a:srgbClr val="274073"/>
              </a:solidFill>
            </a:endParaRPr>
          </a:p>
        </p:txBody>
      </p:sp>
      <p:sp>
        <p:nvSpPr>
          <p:cNvPr id="24" name="Obdélník 23"/>
          <p:cNvSpPr/>
          <p:nvPr userDrawn="1"/>
        </p:nvSpPr>
        <p:spPr>
          <a:xfrm>
            <a:off x="13436" y="5922000"/>
            <a:ext cx="12191997" cy="93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" name="Nadpis 1"/>
          <p:cNvSpPr>
            <a:spLocks noGrp="1"/>
          </p:cNvSpPr>
          <p:nvPr>
            <p:ph type="ctrTitle" hasCustomPrompt="1"/>
          </p:nvPr>
        </p:nvSpPr>
        <p:spPr>
          <a:xfrm>
            <a:off x="914400" y="2720943"/>
            <a:ext cx="10363200" cy="89153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 hasCustomPrompt="1"/>
          </p:nvPr>
        </p:nvSpPr>
        <p:spPr>
          <a:xfrm>
            <a:off x="1828800" y="4887218"/>
            <a:ext cx="8534400" cy="694928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dirty="0"/>
              <a:t>KLIKNUTÍM LZE UPRAVIT STYL PŘEDLOHY.</a:t>
            </a:r>
          </a:p>
        </p:txBody>
      </p:sp>
      <p:sp>
        <p:nvSpPr>
          <p:cNvPr id="9" name="Obdélník 8"/>
          <p:cNvSpPr/>
          <p:nvPr userDrawn="1"/>
        </p:nvSpPr>
        <p:spPr>
          <a:xfrm>
            <a:off x="-3" y="689910"/>
            <a:ext cx="12192000" cy="108012"/>
          </a:xfrm>
          <a:prstGeom prst="rect">
            <a:avLst/>
          </a:prstGeom>
          <a:solidFill>
            <a:srgbClr val="724F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13" name="Obdélník 12"/>
          <p:cNvSpPr/>
          <p:nvPr userDrawn="1"/>
        </p:nvSpPr>
        <p:spPr>
          <a:xfrm>
            <a:off x="-3" y="0"/>
            <a:ext cx="12192000" cy="68991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/>
          </a:p>
        </p:txBody>
      </p:sp>
      <p:sp>
        <p:nvSpPr>
          <p:cNvPr id="25" name="Obdélník 24"/>
          <p:cNvSpPr/>
          <p:nvPr userDrawn="1"/>
        </p:nvSpPr>
        <p:spPr>
          <a:xfrm>
            <a:off x="0" y="5879932"/>
            <a:ext cx="12192000" cy="45719"/>
          </a:xfrm>
          <a:prstGeom prst="rect">
            <a:avLst/>
          </a:prstGeom>
          <a:solidFill>
            <a:srgbClr val="004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sp>
        <p:nvSpPr>
          <p:cNvPr id="17" name="TextovéPole 16"/>
          <p:cNvSpPr txBox="1"/>
          <p:nvPr userDrawn="1"/>
        </p:nvSpPr>
        <p:spPr>
          <a:xfrm>
            <a:off x="2788357" y="151329"/>
            <a:ext cx="8489243" cy="43088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dirty="0"/>
              <a:t>Národní koordinační centrum programů časného záchytu onemocnění I CZ.03.2.63/0.0/0.0/15_039/0006904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1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atová základna realizace screeningových programů CZ.03.2.63/0.0/0.0/15_039/0007216 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F88470AF-D48F-470D-AEEF-9666AC0B61BB}"/>
              </a:ext>
            </a:extLst>
          </p:cNvPr>
          <p:cNvGrpSpPr/>
          <p:nvPr userDrawn="1"/>
        </p:nvGrpSpPr>
        <p:grpSpPr>
          <a:xfrm>
            <a:off x="972000" y="99405"/>
            <a:ext cx="2394526" cy="521285"/>
            <a:chOff x="-3635511" y="3808741"/>
            <a:chExt cx="2394526" cy="521285"/>
          </a:xfrm>
        </p:grpSpPr>
        <p:pic>
          <p:nvPicPr>
            <p:cNvPr id="22" name="Obrázek 21">
              <a:extLst>
                <a:ext uri="{FF2B5EF4-FFF2-40B4-BE49-F238E27FC236}">
                  <a16:creationId xmlns:a16="http://schemas.microsoft.com/office/drawing/2014/main" id="{7C156A95-99FD-463F-A7F7-8DFAEC399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3635511" y="3808741"/>
              <a:ext cx="754652" cy="505853"/>
            </a:xfrm>
            <a:prstGeom prst="rect">
              <a:avLst/>
            </a:prstGeom>
          </p:spPr>
        </p:pic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4A16176F-E232-43A6-B00C-47517659318E}"/>
                </a:ext>
              </a:extLst>
            </p:cNvPr>
            <p:cNvSpPr txBox="1"/>
            <p:nvPr userDrawn="1"/>
          </p:nvSpPr>
          <p:spPr>
            <a:xfrm>
              <a:off x="-2954432" y="3822195"/>
              <a:ext cx="1713447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9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9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9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858CEEB2-107C-4552-B3EE-55408A9AA3DD}"/>
              </a:ext>
            </a:extLst>
          </p:cNvPr>
          <p:cNvSpPr txBox="1"/>
          <p:nvPr userDrawn="1"/>
        </p:nvSpPr>
        <p:spPr>
          <a:xfrm>
            <a:off x="1636734" y="6269165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>
                <a:solidFill>
                  <a:schemeClr val="accent2"/>
                </a:solidFill>
              </a:rPr>
              <a:t>Ústav zdravotnických informací a statistiky České republiky</a:t>
            </a:r>
          </a:p>
          <a:p>
            <a:r>
              <a:rPr lang="cs-CZ" sz="900" i="1" dirty="0">
                <a:solidFill>
                  <a:schemeClr val="accent2"/>
                </a:solidFill>
              </a:rPr>
              <a:t>Institute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Health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Information</a:t>
            </a:r>
            <a:r>
              <a:rPr lang="cs-CZ" sz="900" i="1" dirty="0">
                <a:solidFill>
                  <a:schemeClr val="accent2"/>
                </a:solidFill>
              </a:rPr>
              <a:t> and </a:t>
            </a:r>
            <a:r>
              <a:rPr lang="cs-CZ" sz="900" i="1" dirty="0" err="1">
                <a:solidFill>
                  <a:schemeClr val="accent2"/>
                </a:solidFill>
              </a:rPr>
              <a:t>Statistics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of</a:t>
            </a:r>
            <a:r>
              <a:rPr lang="cs-CZ" sz="900" i="1" dirty="0">
                <a:solidFill>
                  <a:schemeClr val="accent2"/>
                </a:solidFill>
              </a:rPr>
              <a:t> </a:t>
            </a:r>
            <a:r>
              <a:rPr lang="cs-CZ" sz="900" i="1" dirty="0" err="1">
                <a:solidFill>
                  <a:schemeClr val="accent2"/>
                </a:solidFill>
              </a:rPr>
              <a:t>the</a:t>
            </a:r>
            <a:r>
              <a:rPr lang="cs-CZ" sz="900" i="1" dirty="0">
                <a:solidFill>
                  <a:schemeClr val="accent2"/>
                </a:solidFill>
              </a:rPr>
              <a:t> Czech Republic</a:t>
            </a:r>
          </a:p>
        </p:txBody>
      </p:sp>
      <p:pic>
        <p:nvPicPr>
          <p:cNvPr id="27" name="Obrázek 26">
            <a:extLst>
              <a:ext uri="{FF2B5EF4-FFF2-40B4-BE49-F238E27FC236}">
                <a16:creationId xmlns:a16="http://schemas.microsoft.com/office/drawing/2014/main" id="{9DC5116B-C626-40A9-A244-031AB6F780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000" y="6195600"/>
            <a:ext cx="654994" cy="432000"/>
          </a:xfrm>
          <a:prstGeom prst="rect">
            <a:avLst/>
          </a:prstGeom>
        </p:spPr>
      </p:pic>
      <p:pic>
        <p:nvPicPr>
          <p:cNvPr id="28" name="Grafický objekt 13">
            <a:extLst>
              <a:ext uri="{FF2B5EF4-FFF2-40B4-BE49-F238E27FC236}">
                <a16:creationId xmlns:a16="http://schemas.microsoft.com/office/drawing/2014/main" id="{C250F949-DEEF-49A4-8BDC-56E499AC995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60842" y="6300157"/>
            <a:ext cx="2859158" cy="242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5896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  <p15:guide id="2" pos="731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75695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11617349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4567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8485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447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23392" y="980731"/>
            <a:ext cx="109440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16196756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3084" y="3273006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963084" y="1772819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724F77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sp>
        <p:nvSpPr>
          <p:cNvPr id="7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1.2022</a:t>
            </a:fld>
            <a:endParaRPr lang="cs-CZ" dirty="0"/>
          </a:p>
        </p:txBody>
      </p:sp>
      <p:sp>
        <p:nvSpPr>
          <p:cNvPr id="8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9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178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8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4.01.2022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6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7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rgbClr val="DA2B46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7095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9938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6967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748496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29264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1245021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10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624000" y="764707"/>
            <a:ext cx="10944000" cy="5040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A8B41E4C-7C53-49D1-A6A7-BADC85A98B77}"/>
              </a:ext>
            </a:extLst>
          </p:cNvPr>
          <p:cNvSpPr/>
          <p:nvPr userDrawn="1"/>
        </p:nvSpPr>
        <p:spPr>
          <a:xfrm>
            <a:off x="0" y="6272892"/>
            <a:ext cx="12192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>
              <a:solidFill>
                <a:schemeClr val="accent2"/>
              </a:solidFill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10964C23-7502-44A3-900C-38F4C522DDF7}"/>
              </a:ext>
            </a:extLst>
          </p:cNvPr>
          <p:cNvGrpSpPr/>
          <p:nvPr userDrawn="1"/>
        </p:nvGrpSpPr>
        <p:grpSpPr>
          <a:xfrm>
            <a:off x="439358" y="6370574"/>
            <a:ext cx="2266057" cy="421394"/>
            <a:chOff x="-1238301" y="3808742"/>
            <a:chExt cx="2266057" cy="421394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CDBD5828-5EFB-4A41-A797-93B2FC7F04E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077"/>
            <a:stretch/>
          </p:blipFill>
          <p:spPr>
            <a:xfrm>
              <a:off x="-1238301" y="3808742"/>
              <a:ext cx="612000" cy="410232"/>
            </a:xfrm>
            <a:prstGeom prst="rect">
              <a:avLst/>
            </a:prstGeom>
          </p:spPr>
        </p:pic>
        <p:sp>
          <p:nvSpPr>
            <p:cNvPr id="17" name="TextovéPole 16">
              <a:extLst>
                <a:ext uri="{FF2B5EF4-FFF2-40B4-BE49-F238E27FC236}">
                  <a16:creationId xmlns:a16="http://schemas.microsoft.com/office/drawing/2014/main" id="{772FED2F-5B03-4031-96D4-0C82449E52B0}"/>
                </a:ext>
              </a:extLst>
            </p:cNvPr>
            <p:cNvSpPr txBox="1"/>
            <p:nvPr userDrawn="1"/>
          </p:nvSpPr>
          <p:spPr>
            <a:xfrm>
              <a:off x="-685691" y="3814638"/>
              <a:ext cx="1713447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sz="700" i="0" dirty="0">
                  <a:solidFill>
                    <a:schemeClr val="bg2">
                      <a:lumMod val="10000"/>
                    </a:schemeClr>
                  </a:solidFill>
                </a:rPr>
                <a:t>Evropská</a:t>
              </a:r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 unie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Evropský sociální fond</a:t>
              </a:r>
            </a:p>
            <a:p>
              <a:r>
                <a:rPr lang="cs-CZ" sz="700" i="0" baseline="0" dirty="0">
                  <a:solidFill>
                    <a:schemeClr val="bg2">
                      <a:lumMod val="10000"/>
                    </a:schemeClr>
                  </a:solidFill>
                </a:rPr>
                <a:t>Operační program Zaměstnanost</a:t>
              </a:r>
              <a:endParaRPr lang="cs-CZ" sz="700" i="0" dirty="0">
                <a:solidFill>
                  <a:schemeClr val="bg2">
                    <a:lumMod val="10000"/>
                  </a:schemeClr>
                </a:solidFill>
              </a:endParaRPr>
            </a:p>
          </p:txBody>
        </p:sp>
      </p:grpSp>
      <p:pic>
        <p:nvPicPr>
          <p:cNvPr id="18" name="Obrázek 17">
            <a:extLst>
              <a:ext uri="{FF2B5EF4-FFF2-40B4-BE49-F238E27FC236}">
                <a16:creationId xmlns:a16="http://schemas.microsoft.com/office/drawing/2014/main" id="{D3A64A3E-5CE1-4373-9488-123DE518BFF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168" y="6395690"/>
            <a:ext cx="1563511" cy="360000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813C5B4A-5521-4F74-8DBB-23F3AD51747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2432" y="6395690"/>
            <a:ext cx="545828" cy="360000"/>
          </a:xfrm>
          <a:prstGeom prst="rect">
            <a:avLst/>
          </a:prstGeom>
        </p:spPr>
      </p:pic>
      <p:pic>
        <p:nvPicPr>
          <p:cNvPr id="23" name="Grafický objekt 13">
            <a:extLst>
              <a:ext uri="{FF2B5EF4-FFF2-40B4-BE49-F238E27FC236}">
                <a16:creationId xmlns:a16="http://schemas.microsoft.com/office/drawing/2014/main" id="{4CAC0E8A-9294-4088-87D2-D875E5895AD2}"/>
              </a:ext>
            </a:extLst>
          </p:cNvPr>
          <p:cNvPicPr/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125012" y="6472776"/>
            <a:ext cx="2627630" cy="222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382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b="1" kern="1200">
          <a:solidFill>
            <a:srgbClr val="724F77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16">
          <p15:clr>
            <a:srgbClr val="F26B43"/>
          </p15:clr>
        </p15:guide>
        <p15:guide id="2" pos="48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BE882FD9-D878-4FCD-9C72-C60BD3C7D753}"/>
              </a:ext>
            </a:extLst>
          </p:cNvPr>
          <p:cNvSpPr/>
          <p:nvPr userDrawn="1"/>
        </p:nvSpPr>
        <p:spPr>
          <a:xfrm>
            <a:off x="1" y="1"/>
            <a:ext cx="12192000" cy="681036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2400" dirty="0">
              <a:solidFill>
                <a:schemeClr val="bg1"/>
              </a:solidFill>
              <a:latin typeface="Arial (Základní text)"/>
            </a:endParaRP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86" y="1"/>
            <a:ext cx="8808993" cy="6810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7597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bg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/>
        <p:txBody>
          <a:bodyPr>
            <a:normAutofit fontScale="90000"/>
          </a:bodyPr>
          <a:lstStyle/>
          <a:p>
            <a:r>
              <a:rPr lang="cs-CZ" b="1" dirty="0"/>
              <a:t>Datová a informační základna </a:t>
            </a:r>
            <a:br>
              <a:rPr lang="cs-CZ" b="1" dirty="0"/>
            </a:br>
            <a:r>
              <a:rPr lang="cs-CZ" b="1" dirty="0"/>
              <a:t>pro management pandemi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143346" y="3693109"/>
            <a:ext cx="11905307" cy="2367967"/>
          </a:xfrm>
        </p:spPr>
        <p:txBody>
          <a:bodyPr>
            <a:normAutofit/>
          </a:bodyPr>
          <a:lstStyle/>
          <a:p>
            <a:r>
              <a:rPr lang="cs-CZ" sz="4000" b="1" dirty="0"/>
              <a:t>Testování ve školách v lednu 2022</a:t>
            </a:r>
          </a:p>
          <a:p>
            <a:r>
              <a:rPr lang="cs-CZ" sz="4000" b="1" i="1" dirty="0"/>
              <a:t>Srovnání jednotlivých kol testů </a:t>
            </a:r>
            <a:endParaRPr lang="cs-CZ" sz="4000" i="1" dirty="0"/>
          </a:p>
        </p:txBody>
      </p:sp>
    </p:spTree>
    <p:extLst>
      <p:ext uri="{BB962C8B-B14F-4D97-AF65-F5344CB8AC3E}">
        <p14:creationId xmlns:p14="http://schemas.microsoft.com/office/powerpoint/2010/main" val="2168229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960331" cy="576000"/>
          </a:xfrm>
        </p:spPr>
        <p:txBody>
          <a:bodyPr/>
          <a:lstStyle/>
          <a:p>
            <a:r>
              <a:rPr lang="cs-CZ" sz="2400" dirty="0"/>
              <a:t>Screeningové testy ve školách: výsledky žáků a studentů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1C2C6165-4C10-4B60-8311-60FEC7D2876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728955"/>
              </p:ext>
            </p:extLst>
          </p:nvPr>
        </p:nvGraphicFramePr>
        <p:xfrm>
          <a:off x="318406" y="1466554"/>
          <a:ext cx="11555188" cy="3380690"/>
        </p:xfrm>
        <a:graphic>
          <a:graphicData uri="http://schemas.openxmlformats.org/drawingml/2006/table">
            <a:tbl>
              <a:tblPr/>
              <a:tblGrid>
                <a:gridCol w="3887608">
                  <a:extLst>
                    <a:ext uri="{9D8B030D-6E8A-4147-A177-3AD203B41FA5}">
                      <a16:colId xmlns:a16="http://schemas.microsoft.com/office/drawing/2014/main" val="3299177384"/>
                    </a:ext>
                  </a:extLst>
                </a:gridCol>
                <a:gridCol w="1277930">
                  <a:extLst>
                    <a:ext uri="{9D8B030D-6E8A-4147-A177-3AD203B41FA5}">
                      <a16:colId xmlns:a16="http://schemas.microsoft.com/office/drawing/2014/main" val="2163944013"/>
                    </a:ext>
                  </a:extLst>
                </a:gridCol>
                <a:gridCol w="1277930">
                  <a:extLst>
                    <a:ext uri="{9D8B030D-6E8A-4147-A177-3AD203B41FA5}">
                      <a16:colId xmlns:a16="http://schemas.microsoft.com/office/drawing/2014/main" val="1095221279"/>
                    </a:ext>
                  </a:extLst>
                </a:gridCol>
                <a:gridCol w="1277930">
                  <a:extLst>
                    <a:ext uri="{9D8B030D-6E8A-4147-A177-3AD203B41FA5}">
                      <a16:colId xmlns:a16="http://schemas.microsoft.com/office/drawing/2014/main" val="1683024521"/>
                    </a:ext>
                  </a:extLst>
                </a:gridCol>
                <a:gridCol w="1277930">
                  <a:extLst>
                    <a:ext uri="{9D8B030D-6E8A-4147-A177-3AD203B41FA5}">
                      <a16:colId xmlns:a16="http://schemas.microsoft.com/office/drawing/2014/main" val="235073149"/>
                    </a:ext>
                  </a:extLst>
                </a:gridCol>
                <a:gridCol w="1277930">
                  <a:extLst>
                    <a:ext uri="{9D8B030D-6E8A-4147-A177-3AD203B41FA5}">
                      <a16:colId xmlns:a16="http://schemas.microsoft.com/office/drawing/2014/main" val="2595701267"/>
                    </a:ext>
                  </a:extLst>
                </a:gridCol>
                <a:gridCol w="1277930">
                  <a:extLst>
                    <a:ext uri="{9D8B030D-6E8A-4147-A177-3AD203B41FA5}">
                      <a16:colId xmlns:a16="http://schemas.microsoft.com/office/drawing/2014/main" val="4209820186"/>
                    </a:ext>
                  </a:extLst>
                </a:gridCol>
              </a:tblGrid>
              <a:tr h="334453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Parametry srovnávající kola testování </a:t>
                      </a:r>
                    </a:p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645024"/>
                  </a:ext>
                </a:extLst>
              </a:tr>
              <a:tr h="326249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303989"/>
                  </a:ext>
                </a:extLst>
              </a:tr>
              <a:tr h="34323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 podíl škol, které nahlásily testy do CF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91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50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5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6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0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886391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hlášených testů (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PCR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3 483 / 17 9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 013 / 6 6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5 101 / 15 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2 408 / 5 2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 778 / 1 1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7 678 / 4 5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49569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 podíl škol s potvrzenými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8 (13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7 (1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9 (1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4 (2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7 (27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5 (4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528614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 podíl škol s více než 10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(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(0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0,3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(0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(1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759296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 podíl škol s 5–10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(0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(0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 (7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(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(4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(14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297342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 podíl pozitivně konfirmovaných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estů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163594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ákazy CELKEM**</a:t>
                      </a:r>
                      <a:endParaRPr lang="cs-CZ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7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 2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63056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a 100 tis. testů*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5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357399"/>
                  </a:ext>
                </a:extLst>
              </a:tr>
            </a:tbl>
          </a:graphicData>
        </a:graphic>
      </p:graphicFrame>
      <p:sp>
        <p:nvSpPr>
          <p:cNvPr id="2" name="Obdélník 1">
            <a:extLst>
              <a:ext uri="{FF2B5EF4-FFF2-40B4-BE49-F238E27FC236}">
                <a16:creationId xmlns:a16="http://schemas.microsoft.com/office/drawing/2014/main" id="{2CCBB79E-923B-4EC5-B3C6-B939B80B05DD}"/>
              </a:ext>
            </a:extLst>
          </p:cNvPr>
          <p:cNvSpPr/>
          <p:nvPr/>
        </p:nvSpPr>
        <p:spPr>
          <a:xfrm>
            <a:off x="254927" y="6356883"/>
            <a:ext cx="100944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školy mohou testovat kombinovaně PCR i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Definitivně potvrzené pozitivní záchyty nákazy: konfirmace PCR po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ech 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ární záchyty PCR ze škol testujících PCR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18CD62E1-9306-414F-BC9A-1B926F78C028}"/>
              </a:ext>
            </a:extLst>
          </p:cNvPr>
          <p:cNvSpPr txBox="1"/>
          <p:nvPr/>
        </p:nvSpPr>
        <p:spPr>
          <a:xfrm>
            <a:off x="0" y="689925"/>
            <a:ext cx="117824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ZŠ</a:t>
            </a:r>
            <a:r>
              <a:rPr lang="cs-CZ" sz="1200" dirty="0">
                <a:solidFill>
                  <a:srgbClr val="000000"/>
                </a:solidFill>
              </a:rPr>
              <a:t> - základní školy včetně škol s vyššími vzdělávacími stupni (celkem 4 216 škol);  </a:t>
            </a:r>
            <a:r>
              <a:rPr lang="cs-CZ" sz="1200" b="1" dirty="0">
                <a:solidFill>
                  <a:srgbClr val="000000"/>
                </a:solidFill>
              </a:rPr>
              <a:t>SŠ </a:t>
            </a:r>
            <a:r>
              <a:rPr lang="cs-CZ" sz="1200" dirty="0">
                <a:solidFill>
                  <a:srgbClr val="000000"/>
                </a:solidFill>
              </a:rPr>
              <a:t>- střední školy včetně škol s vyššími vzdělávacími stupni (celkem 1 113 škol)</a:t>
            </a:r>
          </a:p>
          <a:p>
            <a:pPr lvl="0">
              <a:defRPr/>
            </a:pPr>
            <a:r>
              <a:rPr lang="cs-CZ" sz="1200" dirty="0">
                <a:solidFill>
                  <a:srgbClr val="000000"/>
                </a:solidFill>
              </a:rPr>
              <a:t>Referenční databáze celkem obsahuje údaje od 5 329 škol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4969963-92AD-4D52-8AD6-E0034877A86E}"/>
              </a:ext>
            </a:extLst>
          </p:cNvPr>
          <p:cNvSpPr txBox="1"/>
          <p:nvPr/>
        </p:nvSpPr>
        <p:spPr>
          <a:xfrm>
            <a:off x="9278821" y="184921"/>
            <a:ext cx="26633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</a:rPr>
              <a:t>Srovnání kol testování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640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64994" y="39452"/>
            <a:ext cx="11960331" cy="576000"/>
          </a:xfrm>
        </p:spPr>
        <p:txBody>
          <a:bodyPr/>
          <a:lstStyle/>
          <a:p>
            <a:r>
              <a:rPr lang="cs-CZ" sz="2400" dirty="0"/>
              <a:t>Screeningové testy ve školách: výsledky zaměstnanců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1C2C6165-4C10-4B60-8311-60FEC7D28765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460854"/>
              </p:ext>
            </p:extLst>
          </p:nvPr>
        </p:nvGraphicFramePr>
        <p:xfrm>
          <a:off x="386934" y="1521674"/>
          <a:ext cx="11176416" cy="2728192"/>
        </p:xfrm>
        <a:graphic>
          <a:graphicData uri="http://schemas.openxmlformats.org/drawingml/2006/table">
            <a:tbl>
              <a:tblPr/>
              <a:tblGrid>
                <a:gridCol w="3853842">
                  <a:extLst>
                    <a:ext uri="{9D8B030D-6E8A-4147-A177-3AD203B41FA5}">
                      <a16:colId xmlns:a16="http://schemas.microsoft.com/office/drawing/2014/main" val="3299177384"/>
                    </a:ext>
                  </a:extLst>
                </a:gridCol>
                <a:gridCol w="1220429">
                  <a:extLst>
                    <a:ext uri="{9D8B030D-6E8A-4147-A177-3AD203B41FA5}">
                      <a16:colId xmlns:a16="http://schemas.microsoft.com/office/drawing/2014/main" val="2163944013"/>
                    </a:ext>
                  </a:extLst>
                </a:gridCol>
                <a:gridCol w="1220429">
                  <a:extLst>
                    <a:ext uri="{9D8B030D-6E8A-4147-A177-3AD203B41FA5}">
                      <a16:colId xmlns:a16="http://schemas.microsoft.com/office/drawing/2014/main" val="1095221279"/>
                    </a:ext>
                  </a:extLst>
                </a:gridCol>
                <a:gridCol w="1220429">
                  <a:extLst>
                    <a:ext uri="{9D8B030D-6E8A-4147-A177-3AD203B41FA5}">
                      <a16:colId xmlns:a16="http://schemas.microsoft.com/office/drawing/2014/main" val="1683024521"/>
                    </a:ext>
                  </a:extLst>
                </a:gridCol>
                <a:gridCol w="1220429">
                  <a:extLst>
                    <a:ext uri="{9D8B030D-6E8A-4147-A177-3AD203B41FA5}">
                      <a16:colId xmlns:a16="http://schemas.microsoft.com/office/drawing/2014/main" val="235073149"/>
                    </a:ext>
                  </a:extLst>
                </a:gridCol>
                <a:gridCol w="1220429">
                  <a:extLst>
                    <a:ext uri="{9D8B030D-6E8A-4147-A177-3AD203B41FA5}">
                      <a16:colId xmlns:a16="http://schemas.microsoft.com/office/drawing/2014/main" val="2595701267"/>
                    </a:ext>
                  </a:extLst>
                </a:gridCol>
                <a:gridCol w="1220429">
                  <a:extLst>
                    <a:ext uri="{9D8B030D-6E8A-4147-A177-3AD203B41FA5}">
                      <a16:colId xmlns:a16="http://schemas.microsoft.com/office/drawing/2014/main" val="4209820186"/>
                    </a:ext>
                  </a:extLst>
                </a:gridCol>
              </a:tblGrid>
              <a:tr h="334453">
                <a:tc rowSpan="2">
                  <a:txBody>
                    <a:bodyPr/>
                    <a:lstStyle/>
                    <a:p>
                      <a:pPr algn="l" fontAlgn="b"/>
                      <a:r>
                        <a:rPr lang="cs-CZ" sz="1400" b="1" i="0" u="none" strike="noStrike" dirty="0">
                          <a:solidFill>
                            <a:srgbClr val="0000FF"/>
                          </a:solidFill>
                          <a:effectLst/>
                          <a:latin typeface="Calibri" panose="020F0502020204030204" pitchFamily="34" charset="0"/>
                        </a:rPr>
                        <a:t>Parametry srovnávající kola testování </a:t>
                      </a:r>
                    </a:p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645024"/>
                  </a:ext>
                </a:extLst>
              </a:tr>
              <a:tr h="326249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303989"/>
                  </a:ext>
                </a:extLst>
              </a:tr>
              <a:tr h="343230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 podíl škol, které nahlásily testy do CFA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91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7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50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5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9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6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8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60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5,2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73</a:t>
                      </a:r>
                      <a:b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96,4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886391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nahlášených testů (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/PCR)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501 / 1 5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 989 / 7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137 / 1 6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 419 / 4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 634 / 1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012 / 2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49569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čet a podíl škol s potvrzenými záchy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 (1,1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 (1,7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 (2,6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 (8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(8,0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 (11,5 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528614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díl pozitivně konfirmovaných </a:t>
                      </a:r>
                      <a:r>
                        <a:rPr lang="cs-CZ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</a:t>
                      </a: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testů (%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163594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ákazy CELKEM**</a:t>
                      </a:r>
                      <a:endParaRPr lang="cs-CZ" sz="12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630560"/>
                  </a:ext>
                </a:extLst>
              </a:tr>
              <a:tr h="32624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Počet PCR potvrzených záchytů na 100 tis. testů*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6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3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3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357399"/>
                  </a:ext>
                </a:extLst>
              </a:tr>
            </a:tbl>
          </a:graphicData>
        </a:graphic>
      </p:graphicFrame>
      <p:sp>
        <p:nvSpPr>
          <p:cNvPr id="2" name="Obdélník 1">
            <a:extLst>
              <a:ext uri="{FF2B5EF4-FFF2-40B4-BE49-F238E27FC236}">
                <a16:creationId xmlns:a16="http://schemas.microsoft.com/office/drawing/2014/main" id="{2CCBB79E-923B-4EC5-B3C6-B939B80B05DD}"/>
              </a:ext>
            </a:extLst>
          </p:cNvPr>
          <p:cNvSpPr/>
          <p:nvPr/>
        </p:nvSpPr>
        <p:spPr>
          <a:xfrm>
            <a:off x="254927" y="6356883"/>
            <a:ext cx="100944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 školy mohou testovat kombinovaně PCR i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* Definitivně potvrzené pozitivní záchyty nákazy: konfirmace PCR po </a:t>
            </a:r>
            <a:r>
              <a:rPr kumimoji="0" lang="cs-CZ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g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estech a 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mární záchyty PCR ze škol testujících PCR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18CD62E1-9306-414F-BC9A-1B926F78C028}"/>
              </a:ext>
            </a:extLst>
          </p:cNvPr>
          <p:cNvSpPr txBox="1"/>
          <p:nvPr/>
        </p:nvSpPr>
        <p:spPr>
          <a:xfrm>
            <a:off x="0" y="689925"/>
            <a:ext cx="1178242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cs-CZ" sz="1200" b="1" dirty="0">
                <a:solidFill>
                  <a:srgbClr val="000000"/>
                </a:solidFill>
              </a:rPr>
              <a:t>ZŠ</a:t>
            </a:r>
            <a:r>
              <a:rPr lang="cs-CZ" sz="1200" dirty="0">
                <a:solidFill>
                  <a:srgbClr val="000000"/>
                </a:solidFill>
              </a:rPr>
              <a:t> - základní školy včetně škol s vyššími vzdělávacími stupni (celkem 4 216 škol);  </a:t>
            </a:r>
            <a:r>
              <a:rPr lang="cs-CZ" sz="1200" b="1" dirty="0">
                <a:solidFill>
                  <a:srgbClr val="000000"/>
                </a:solidFill>
              </a:rPr>
              <a:t>SŠ </a:t>
            </a:r>
            <a:r>
              <a:rPr lang="cs-CZ" sz="1200" dirty="0">
                <a:solidFill>
                  <a:srgbClr val="000000"/>
                </a:solidFill>
              </a:rPr>
              <a:t>- střední školy včetně škol s vyššími vzdělávacími stupni (celkem 1 113 škol)</a:t>
            </a:r>
          </a:p>
          <a:p>
            <a:pPr lvl="0">
              <a:defRPr/>
            </a:pPr>
            <a:r>
              <a:rPr lang="cs-CZ" sz="1200" dirty="0">
                <a:solidFill>
                  <a:srgbClr val="000000"/>
                </a:solidFill>
              </a:rPr>
              <a:t>Referenční databáze celkem obsahuje údaje od 5 329 škol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4969963-92AD-4D52-8AD6-E0034877A86E}"/>
              </a:ext>
            </a:extLst>
          </p:cNvPr>
          <p:cNvSpPr txBox="1"/>
          <p:nvPr/>
        </p:nvSpPr>
        <p:spPr>
          <a:xfrm>
            <a:off x="9278821" y="184921"/>
            <a:ext cx="2663301" cy="36933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cs-CZ" dirty="0">
                <a:solidFill>
                  <a:schemeClr val="bg1"/>
                </a:solidFill>
              </a:rPr>
              <a:t>Srovnání kol testování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802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F46453B8-4C67-459A-BF9C-41F62163B6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2335641"/>
              </p:ext>
            </p:extLst>
          </p:nvPr>
        </p:nvGraphicFramePr>
        <p:xfrm>
          <a:off x="5848349" y="1782921"/>
          <a:ext cx="3513444" cy="4846482"/>
        </p:xfrm>
        <a:graphic>
          <a:graphicData uri="http://schemas.openxmlformats.org/drawingml/2006/table">
            <a:tbl>
              <a:tblPr/>
              <a:tblGrid>
                <a:gridCol w="1171148">
                  <a:extLst>
                    <a:ext uri="{9D8B030D-6E8A-4147-A177-3AD203B41FA5}">
                      <a16:colId xmlns:a16="http://schemas.microsoft.com/office/drawing/2014/main" val="4190293878"/>
                    </a:ext>
                  </a:extLst>
                </a:gridCol>
                <a:gridCol w="1171148">
                  <a:extLst>
                    <a:ext uri="{9D8B030D-6E8A-4147-A177-3AD203B41FA5}">
                      <a16:colId xmlns:a16="http://schemas.microsoft.com/office/drawing/2014/main" val="777776716"/>
                    </a:ext>
                  </a:extLst>
                </a:gridCol>
                <a:gridCol w="1171148">
                  <a:extLst>
                    <a:ext uri="{9D8B030D-6E8A-4147-A177-3AD203B41FA5}">
                      <a16:colId xmlns:a16="http://schemas.microsoft.com/office/drawing/2014/main" val="3387962277"/>
                    </a:ext>
                  </a:extLst>
                </a:gridCol>
              </a:tblGrid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B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714578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1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4304528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7221320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9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6611690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A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7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1730539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4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0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8583487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1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9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0723352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6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E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9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266061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1C6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D2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E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976050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4354577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8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4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187654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1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830116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A4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3062069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3459639"/>
                  </a:ext>
                </a:extLst>
              </a:tr>
              <a:tr h="335010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E9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6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8401574"/>
                  </a:ext>
                </a:extLst>
              </a:tr>
            </a:tbl>
          </a:graphicData>
        </a:graphic>
      </p:graphicFrame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C24E0D3-EBD7-407E-99EA-E687984394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3430993"/>
              </p:ext>
            </p:extLst>
          </p:nvPr>
        </p:nvGraphicFramePr>
        <p:xfrm>
          <a:off x="2333624" y="1782921"/>
          <a:ext cx="3514725" cy="4846485"/>
        </p:xfrm>
        <a:graphic>
          <a:graphicData uri="http://schemas.openxmlformats.org/drawingml/2006/table">
            <a:tbl>
              <a:tblPr/>
              <a:tblGrid>
                <a:gridCol w="1171575">
                  <a:extLst>
                    <a:ext uri="{9D8B030D-6E8A-4147-A177-3AD203B41FA5}">
                      <a16:colId xmlns:a16="http://schemas.microsoft.com/office/drawing/2014/main" val="264956903"/>
                    </a:ext>
                  </a:extLst>
                </a:gridCol>
                <a:gridCol w="1171575">
                  <a:extLst>
                    <a:ext uri="{9D8B030D-6E8A-4147-A177-3AD203B41FA5}">
                      <a16:colId xmlns:a16="http://schemas.microsoft.com/office/drawing/2014/main" val="402636476"/>
                    </a:ext>
                  </a:extLst>
                </a:gridCol>
                <a:gridCol w="1171575">
                  <a:extLst>
                    <a:ext uri="{9D8B030D-6E8A-4147-A177-3AD203B41FA5}">
                      <a16:colId xmlns:a16="http://schemas.microsoft.com/office/drawing/2014/main" val="997187545"/>
                    </a:ext>
                  </a:extLst>
                </a:gridCol>
              </a:tblGrid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9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7524209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0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495211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9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136905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541733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3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C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7872439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4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9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481574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47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228451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A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2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4178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917687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2D4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1536167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B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9069915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C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9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039735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E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6519699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1CB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5480816"/>
                  </a:ext>
                </a:extLst>
              </a:tr>
              <a:tr h="323099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AE0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1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135300"/>
                  </a:ext>
                </a:extLst>
              </a:tr>
            </a:tbl>
          </a:graphicData>
        </a:graphic>
      </p:graphicFrame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169" y="39452"/>
            <a:ext cx="12091380" cy="576000"/>
          </a:xfrm>
        </p:spPr>
        <p:txBody>
          <a:bodyPr/>
          <a:lstStyle/>
          <a:p>
            <a:r>
              <a:rPr lang="cs-CZ" sz="2400" dirty="0"/>
              <a:t>Screeningové testy žáků/studentů ve školách – </a:t>
            </a:r>
            <a:r>
              <a:rPr lang="en-US" sz="2400" dirty="0" err="1"/>
              <a:t>potvrzen</a:t>
            </a:r>
            <a:r>
              <a:rPr lang="cs-CZ" sz="2400" dirty="0"/>
              <a:t>é výsledky (dle CFA</a:t>
            </a:r>
            <a:r>
              <a:rPr lang="en-US" sz="2400" dirty="0"/>
              <a:t>/ISIN</a:t>
            </a:r>
            <a:r>
              <a:rPr lang="cs-CZ" sz="2400" dirty="0"/>
              <a:t>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036F9A6-B948-4D79-B82A-FF06F18A06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036017" y="549652"/>
            <a:ext cx="5016284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e nebo AG konfirmovaný PC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9B21CFA1-05AA-4F69-A9E4-233ADBBB0DA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83527972"/>
              </p:ext>
            </p:extLst>
          </p:nvPr>
        </p:nvGraphicFramePr>
        <p:xfrm>
          <a:off x="632730" y="1123655"/>
          <a:ext cx="8729063" cy="5505744"/>
        </p:xfrm>
        <a:graphic>
          <a:graphicData uri="http://schemas.openxmlformats.org/drawingml/2006/table">
            <a:tbl>
              <a:tblPr/>
              <a:tblGrid>
                <a:gridCol w="1704917">
                  <a:extLst>
                    <a:ext uri="{9D8B030D-6E8A-4147-A177-3AD203B41FA5}">
                      <a16:colId xmlns:a16="http://schemas.microsoft.com/office/drawing/2014/main" val="3299177384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2163944013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1095221279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1683024521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235073149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2595701267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4209820186"/>
                    </a:ext>
                  </a:extLst>
                </a:gridCol>
              </a:tblGrid>
              <a:tr h="331520">
                <a:tc rowSpan="2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645024"/>
                  </a:ext>
                </a:extLst>
              </a:tr>
              <a:tr h="323389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303989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495690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528614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759296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297342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189608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97157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5993373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2589483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719974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952230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7285882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167397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163594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630560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357399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BEEAB803-4014-4259-9A06-1BAD4842C1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6626" y="787612"/>
            <a:ext cx="50802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žáků a studentů na 100 tis. testů</a:t>
            </a:r>
          </a:p>
        </p:txBody>
      </p:sp>
    </p:spTree>
    <p:extLst>
      <p:ext uri="{BB962C8B-B14F-4D97-AF65-F5344CB8AC3E}">
        <p14:creationId xmlns:p14="http://schemas.microsoft.com/office/powerpoint/2010/main" val="10039982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ulka 5">
            <a:extLst>
              <a:ext uri="{FF2B5EF4-FFF2-40B4-BE49-F238E27FC236}">
                <a16:creationId xmlns:a16="http://schemas.microsoft.com/office/drawing/2014/main" id="{3849AF3A-5A6D-4060-B681-E184CAA196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733106"/>
              </p:ext>
            </p:extLst>
          </p:nvPr>
        </p:nvGraphicFramePr>
        <p:xfrm>
          <a:off x="5857875" y="1782921"/>
          <a:ext cx="3503919" cy="4846482"/>
        </p:xfrm>
        <a:graphic>
          <a:graphicData uri="http://schemas.openxmlformats.org/drawingml/2006/table">
            <a:tbl>
              <a:tblPr/>
              <a:tblGrid>
                <a:gridCol w="1167973">
                  <a:extLst>
                    <a:ext uri="{9D8B030D-6E8A-4147-A177-3AD203B41FA5}">
                      <a16:colId xmlns:a16="http://schemas.microsoft.com/office/drawing/2014/main" val="1601105138"/>
                    </a:ext>
                  </a:extLst>
                </a:gridCol>
                <a:gridCol w="1167973">
                  <a:extLst>
                    <a:ext uri="{9D8B030D-6E8A-4147-A177-3AD203B41FA5}">
                      <a16:colId xmlns:a16="http://schemas.microsoft.com/office/drawing/2014/main" val="1397456097"/>
                    </a:ext>
                  </a:extLst>
                </a:gridCol>
                <a:gridCol w="1167973">
                  <a:extLst>
                    <a:ext uri="{9D8B030D-6E8A-4147-A177-3AD203B41FA5}">
                      <a16:colId xmlns:a16="http://schemas.microsoft.com/office/drawing/2014/main" val="2722123969"/>
                    </a:ext>
                  </a:extLst>
                </a:gridCol>
              </a:tblGrid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7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A5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4507674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D1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BE0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4186581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6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9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8925147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BC5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4821012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9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5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57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3301953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E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F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D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9817481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7F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9825490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C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7E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106455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CA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4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2936986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2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DC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4891959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D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7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727301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C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A817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0354000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F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A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A2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0599466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6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1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2013867"/>
                  </a:ext>
                </a:extLst>
              </a:tr>
              <a:tr h="335010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A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D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350502"/>
                  </a:ext>
                </a:extLst>
              </a:tr>
            </a:tbl>
          </a:graphicData>
        </a:graphic>
      </p:graphicFrame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63E21ABE-6901-44F4-BC66-2340C6C160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8086692"/>
              </p:ext>
            </p:extLst>
          </p:nvPr>
        </p:nvGraphicFramePr>
        <p:xfrm>
          <a:off x="2333625" y="1782921"/>
          <a:ext cx="3524250" cy="4846482"/>
        </p:xfrm>
        <a:graphic>
          <a:graphicData uri="http://schemas.openxmlformats.org/drawingml/2006/table">
            <a:tbl>
              <a:tblPr/>
              <a:tblGrid>
                <a:gridCol w="1174750">
                  <a:extLst>
                    <a:ext uri="{9D8B030D-6E8A-4147-A177-3AD203B41FA5}">
                      <a16:colId xmlns:a16="http://schemas.microsoft.com/office/drawing/2014/main" val="421502644"/>
                    </a:ext>
                  </a:extLst>
                </a:gridCol>
                <a:gridCol w="1174750">
                  <a:extLst>
                    <a:ext uri="{9D8B030D-6E8A-4147-A177-3AD203B41FA5}">
                      <a16:colId xmlns:a16="http://schemas.microsoft.com/office/drawing/2014/main" val="3263756444"/>
                    </a:ext>
                  </a:extLst>
                </a:gridCol>
                <a:gridCol w="1174750">
                  <a:extLst>
                    <a:ext uri="{9D8B030D-6E8A-4147-A177-3AD203B41FA5}">
                      <a16:colId xmlns:a16="http://schemas.microsoft.com/office/drawing/2014/main" val="1916284073"/>
                    </a:ext>
                  </a:extLst>
                </a:gridCol>
              </a:tblGrid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6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B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347718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B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025674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8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A8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662735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7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AC9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8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454114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C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602787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D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8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730599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CC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D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EA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837391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0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D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7804723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DE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5D5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A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3520203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1824898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2D9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9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1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9401069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9D7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B1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8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631251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E2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F7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6338542"/>
                  </a:ext>
                </a:extLst>
              </a:tr>
              <a:tr h="322248"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0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5E8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FE2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157965"/>
                  </a:ext>
                </a:extLst>
              </a:tr>
              <a:tr h="335010"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D8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A7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9076215"/>
                  </a:ext>
                </a:extLst>
              </a:tr>
            </a:tbl>
          </a:graphicData>
        </a:graphic>
      </p:graphicFrame>
      <p:sp>
        <p:nvSpPr>
          <p:cNvPr id="20" name="Nadpis 1">
            <a:extLst>
              <a:ext uri="{FF2B5EF4-FFF2-40B4-BE49-F238E27FC236}">
                <a16:creationId xmlns:a16="http://schemas.microsoft.com/office/drawing/2014/main" id="{7D7972E5-0CCD-46CA-80F9-F819739D546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1169" y="39452"/>
            <a:ext cx="12091380" cy="576000"/>
          </a:xfrm>
        </p:spPr>
        <p:txBody>
          <a:bodyPr/>
          <a:lstStyle/>
          <a:p>
            <a:r>
              <a:rPr lang="cs-CZ" sz="2400" dirty="0"/>
              <a:t>Screeningové testy zaměstnanců ve školách – </a:t>
            </a:r>
            <a:r>
              <a:rPr lang="en-US" sz="2400" dirty="0" err="1"/>
              <a:t>potvrzen</a:t>
            </a:r>
            <a:r>
              <a:rPr lang="cs-CZ" sz="2400" dirty="0"/>
              <a:t>é výsledky (dle CFA</a:t>
            </a:r>
            <a:r>
              <a:rPr lang="en-US" sz="2400" dirty="0"/>
              <a:t>/ISIN</a:t>
            </a:r>
            <a:r>
              <a:rPr lang="cs-CZ" sz="2400" dirty="0"/>
              <a:t>)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D036F9A6-B948-4D79-B82A-FF06F18A068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036017" y="549652"/>
            <a:ext cx="5016284" cy="36933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škole nebo AG konfirmovaný PC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</a:t>
            </a: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9B21CFA1-05AA-4F69-A9E4-233ADBBB0DAD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1679852"/>
              </p:ext>
            </p:extLst>
          </p:nvPr>
        </p:nvGraphicFramePr>
        <p:xfrm>
          <a:off x="632730" y="1123655"/>
          <a:ext cx="8729063" cy="5505744"/>
        </p:xfrm>
        <a:graphic>
          <a:graphicData uri="http://schemas.openxmlformats.org/drawingml/2006/table">
            <a:tbl>
              <a:tblPr/>
              <a:tblGrid>
                <a:gridCol w="1704917">
                  <a:extLst>
                    <a:ext uri="{9D8B030D-6E8A-4147-A177-3AD203B41FA5}">
                      <a16:colId xmlns:a16="http://schemas.microsoft.com/office/drawing/2014/main" val="3299177384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2163944013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1095221279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1683024521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235073149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2595701267"/>
                    </a:ext>
                  </a:extLst>
                </a:gridCol>
                <a:gridCol w="1170691">
                  <a:extLst>
                    <a:ext uri="{9D8B030D-6E8A-4147-A177-3AD203B41FA5}">
                      <a16:colId xmlns:a16="http://schemas.microsoft.com/office/drawing/2014/main" val="4209820186"/>
                    </a:ext>
                  </a:extLst>
                </a:gridCol>
              </a:tblGrid>
              <a:tr h="331520">
                <a:tc rowSpan="2"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Š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645024"/>
                  </a:ext>
                </a:extLst>
              </a:tr>
              <a:tr h="323389">
                <a:tc vMerge="1"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0303989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lavní město Praha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0495690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ředoče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528614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če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759296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zeň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1297342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rlovar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189608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Úste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8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2897157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ibere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5993373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álovéhrade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2589483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dubi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5719974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raj Vysočina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0952230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ihomorav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7285882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lomouc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167397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Zlín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8163594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ravskoslezský kraj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4630560"/>
                  </a:ext>
                </a:extLst>
              </a:tr>
              <a:tr h="323389">
                <a:tc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ELKEM</a:t>
                      </a:r>
                    </a:p>
                  </a:txBody>
                  <a:tcPr marL="36000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0357399"/>
                  </a:ext>
                </a:extLst>
              </a:tr>
            </a:tbl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BEEAB803-4014-4259-9A06-1BAD4842C1E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4136" y="787612"/>
            <a:ext cx="48285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čty pozitivních zaměstnanců na 100 tis. testů</a:t>
            </a:r>
          </a:p>
        </p:txBody>
      </p:sp>
    </p:spTree>
    <p:extLst>
      <p:ext uri="{BB962C8B-B14F-4D97-AF65-F5344CB8AC3E}">
        <p14:creationId xmlns:p14="http://schemas.microsoft.com/office/powerpoint/2010/main" val="1363336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" val="{&quot;SavedSwatch&quot;:&quot;-16748873|-10780376|-3468525|-5151986|-9539986|Markido&quot;,&quot;Id&quot;:&quot;6092a72d3433424d4497ed13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  <p:tag name="SLIDEFAB_CUSTOMSORTGLOBALLY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1_Motiv systému Office">
  <a:themeElements>
    <a:clrScheme name="Vlastní 2">
      <a:dk1>
        <a:srgbClr val="5F5F5F"/>
      </a:dk1>
      <a:lt1>
        <a:sysClr val="window" lastClr="FFFFFF"/>
      </a:lt1>
      <a:dk2>
        <a:srgbClr val="84848E"/>
      </a:dk2>
      <a:lt2>
        <a:srgbClr val="F2F2F2"/>
      </a:lt2>
      <a:accent1>
        <a:srgbClr val="E7B13D"/>
      </a:accent1>
      <a:accent2>
        <a:srgbClr val="3D67BC"/>
      </a:accent2>
      <a:accent3>
        <a:srgbClr val="274073"/>
      </a:accent3>
      <a:accent4>
        <a:srgbClr val="84848E"/>
      </a:accent4>
      <a:accent5>
        <a:srgbClr val="D8D8D8"/>
      </a:accent5>
      <a:accent6>
        <a:srgbClr val="DDDCE0"/>
      </a:accent6>
      <a:hlink>
        <a:srgbClr val="1919FF"/>
      </a:hlink>
      <a:folHlink>
        <a:srgbClr val="00005F"/>
      </a:folHlink>
    </a:clrScheme>
    <a:fontScheme name="Paliativní péč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696</TotalTime>
  <Words>944</Words>
  <Application>Microsoft Office PowerPoint</Application>
  <PresentationFormat>Širokoúhlá obrazovka</PresentationFormat>
  <Paragraphs>369</Paragraphs>
  <Slides>5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3</vt:i4>
      </vt:variant>
      <vt:variant>
        <vt:lpstr>Motiv</vt:lpstr>
      </vt:variant>
      <vt:variant>
        <vt:i4>2</vt:i4>
      </vt:variant>
      <vt:variant>
        <vt:lpstr>Nadpisy snímků</vt:lpstr>
      </vt:variant>
      <vt:variant>
        <vt:i4>5</vt:i4>
      </vt:variant>
    </vt:vector>
  </HeadingPairs>
  <TitlesOfParts>
    <vt:vector size="10" baseType="lpstr">
      <vt:lpstr>Arial</vt:lpstr>
      <vt:lpstr>Arial (Základní text)</vt:lpstr>
      <vt:lpstr>Calibri</vt:lpstr>
      <vt:lpstr>1_Motiv systému Office</vt:lpstr>
      <vt:lpstr>5_Motiv Office</vt:lpstr>
      <vt:lpstr>Datová a informační základna  pro management pandemie COVID-19</vt:lpstr>
      <vt:lpstr>Screeningové testy ve školách: výsledky žáků a studentů</vt:lpstr>
      <vt:lpstr>Screeningové testy ve školách: výsledky zaměstnanců</vt:lpstr>
      <vt:lpstr>Screeningové testy žáků/studentů ve školách – potvrzené výsledky (dle CFA/ISIN)</vt:lpstr>
      <vt:lpstr>Screeningové testy zaměstnanců ve školách – potvrzené výsledky (dle CFA/ISIN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rtin Komenda</dc:creator>
  <cp:lastModifiedBy>Mužík Jan RNDr. Ph.D.</cp:lastModifiedBy>
  <cp:revision>3563</cp:revision>
  <dcterms:created xsi:type="dcterms:W3CDTF">2020-03-16T10:06:11Z</dcterms:created>
  <dcterms:modified xsi:type="dcterms:W3CDTF">2022-01-13T23:47:02Z</dcterms:modified>
</cp:coreProperties>
</file>